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57" r:id="rId4"/>
    <p:sldId id="258" r:id="rId5"/>
    <p:sldId id="259" r:id="rId6"/>
    <p:sldId id="260" r:id="rId7"/>
    <p:sldId id="26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2779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775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36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1"/>
            <a:ext cx="12192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7877" y="677863"/>
            <a:ext cx="1992923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49"/>
            <a:ext cx="2055877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77354" y="5821403"/>
            <a:ext cx="5220677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04703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6716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1742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373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95388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516554" y="1738314"/>
            <a:ext cx="7158892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5273841" y="2957695"/>
            <a:ext cx="3447692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5223807" y="5078641"/>
            <a:ext cx="1744388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2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125049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1950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476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605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046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813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1651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274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100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174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127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300923-3E84-43B5-A3C3-5F4077CC81DA}" type="datetimeFigureOut">
              <a:rPr lang="en-US" smtClean="0"/>
              <a:t>07/05/16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63218C-0BBC-4B05-8442-4477C9E392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379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/>
          <p:cNvSpPr/>
          <p:nvPr userDrawn="1"/>
        </p:nvSpPr>
        <p:spPr>
          <a:xfrm>
            <a:off x="562708" y="6653703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endParaRPr lang="en-US" sz="1200" noProof="0" dirty="0">
              <a:solidFill>
                <a:srgbClr val="808080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913860" y="153843"/>
            <a:ext cx="1145691" cy="1028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30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2.docx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3.docx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4.docx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1143000" y="1626115"/>
            <a:ext cx="9392478" cy="26800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>
                <a:solidFill>
                  <a:srgbClr val="000090"/>
                </a:solidFill>
              </a:rPr>
              <a:t>INTERFACULTY MODULE </a:t>
            </a:r>
          </a:p>
          <a:p>
            <a:r>
              <a:rPr lang="fr-FR" dirty="0">
                <a:solidFill>
                  <a:srgbClr val="000090"/>
                </a:solidFill>
              </a:rPr>
              <a:t>IN TRANSLATIONAL MEDICINE </a:t>
            </a:r>
          </a:p>
          <a:p>
            <a:r>
              <a:rPr lang="fr-FR" dirty="0">
                <a:solidFill>
                  <a:srgbClr val="000090"/>
                </a:solidFill>
              </a:rPr>
              <a:t>DRAFT PROGRAM 2017</a:t>
            </a:r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02" y="4943061"/>
            <a:ext cx="3076722" cy="1893367"/>
          </a:xfrm>
          <a:prstGeom prst="rect">
            <a:avLst/>
          </a:prstGeom>
        </p:spPr>
      </p:pic>
      <p:pic>
        <p:nvPicPr>
          <p:cNvPr id="6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3190" y="5373858"/>
            <a:ext cx="1204575" cy="1204575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5905" y="5225949"/>
            <a:ext cx="1478452" cy="1327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90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43000" y="63175"/>
            <a:ext cx="8992800" cy="840822"/>
          </a:xfrm>
        </p:spPr>
        <p:txBody>
          <a:bodyPr/>
          <a:lstStyle/>
          <a:p>
            <a:pPr algn="ctr"/>
            <a:r>
              <a:rPr lang="fr-FR" dirty="0">
                <a:solidFill>
                  <a:srgbClr val="000090"/>
                </a:solidFill>
              </a:rPr>
              <a:t>INTERFACULTY MODULE IN TRANSLATIONAL MEDICINE DRAFT PROGRAM 2017</a:t>
            </a:r>
          </a:p>
        </p:txBody>
      </p:sp>
      <p:graphicFrame>
        <p:nvGraphicFramePr>
          <p:cNvPr id="5" name="Objet 4"/>
          <p:cNvGraphicFramePr>
            <a:graphicFrameLocks noChangeAspect="1"/>
          </p:cNvGraphicFramePr>
          <p:nvPr>
            <p:extLst/>
          </p:nvPr>
        </p:nvGraphicFramePr>
        <p:xfrm>
          <a:off x="3620512" y="976081"/>
          <a:ext cx="4366829" cy="5653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ocument" r:id="rId3" imgW="6375400" imgH="8255000" progId="Word.Document.12">
                  <p:embed/>
                </p:oleObj>
              </mc:Choice>
              <mc:Fallback>
                <p:oleObj name="Document" r:id="rId3" imgW="6375400" imgH="8255000" progId="Word.Document.12">
                  <p:embed/>
                  <p:pic>
                    <p:nvPicPr>
                      <p:cNvPr id="5" name="Obje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20512" y="976081"/>
                        <a:ext cx="4366829" cy="56532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9410" y="1375918"/>
            <a:ext cx="1011617" cy="101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664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43000" y="63175"/>
            <a:ext cx="8992800" cy="840822"/>
          </a:xfrm>
        </p:spPr>
        <p:txBody>
          <a:bodyPr/>
          <a:lstStyle/>
          <a:p>
            <a:pPr algn="ctr"/>
            <a:r>
              <a:rPr lang="fr-FR" dirty="0">
                <a:solidFill>
                  <a:srgbClr val="000090"/>
                </a:solidFill>
              </a:rPr>
              <a:t>INTERFACULTY MODULE IN TRANSLATIONAL MEDICINE:</a:t>
            </a:r>
            <a:br>
              <a:rPr lang="fr-FR" dirty="0">
                <a:solidFill>
                  <a:srgbClr val="000090"/>
                </a:solidFill>
              </a:rPr>
            </a:br>
            <a:r>
              <a:rPr lang="fr-FR" dirty="0">
                <a:solidFill>
                  <a:srgbClr val="000090"/>
                </a:solidFill>
              </a:rPr>
              <a:t>DRAFT PROGRAM 2017</a:t>
            </a:r>
          </a:p>
        </p:txBody>
      </p:sp>
      <p:graphicFrame>
        <p:nvGraphicFramePr>
          <p:cNvPr id="6" name="Objet 5"/>
          <p:cNvGraphicFramePr>
            <a:graphicFrameLocks noChangeAspect="1"/>
          </p:cNvGraphicFramePr>
          <p:nvPr>
            <p:extLst/>
          </p:nvPr>
        </p:nvGraphicFramePr>
        <p:xfrm>
          <a:off x="3682689" y="925521"/>
          <a:ext cx="4117001" cy="5682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ocument" r:id="rId3" imgW="6375400" imgH="8801100" progId="Word.Document.12">
                  <p:embed/>
                </p:oleObj>
              </mc:Choice>
              <mc:Fallback>
                <p:oleObj name="Document" r:id="rId3" imgW="6375400" imgH="8801100" progId="Word.Document.12">
                  <p:embed/>
                  <p:pic>
                    <p:nvPicPr>
                      <p:cNvPr id="6" name="Obje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82689" y="925521"/>
                        <a:ext cx="4117001" cy="5682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9410" y="1375918"/>
            <a:ext cx="1011617" cy="101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1006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43000" y="63175"/>
            <a:ext cx="8992800" cy="840822"/>
          </a:xfrm>
        </p:spPr>
        <p:txBody>
          <a:bodyPr/>
          <a:lstStyle/>
          <a:p>
            <a:pPr algn="ctr"/>
            <a:r>
              <a:rPr lang="fr-FR" dirty="0">
                <a:solidFill>
                  <a:srgbClr val="000090"/>
                </a:solidFill>
              </a:rPr>
              <a:t>INTERFACULTY MODULE IN TRANSLATIONAL MEDICINE:</a:t>
            </a:r>
            <a:br>
              <a:rPr lang="fr-FR" dirty="0">
                <a:solidFill>
                  <a:srgbClr val="000090"/>
                </a:solidFill>
              </a:rPr>
            </a:br>
            <a:r>
              <a:rPr lang="fr-FR" dirty="0">
                <a:solidFill>
                  <a:srgbClr val="000090"/>
                </a:solidFill>
              </a:rPr>
              <a:t>DRAFT PROGRAM 2017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/>
          </p:nvPr>
        </p:nvGraphicFramePr>
        <p:xfrm>
          <a:off x="3704247" y="956871"/>
          <a:ext cx="4110910" cy="56742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ocument" r:id="rId3" imgW="6375400" imgH="8801100" progId="Word.Document.12">
                  <p:embed/>
                </p:oleObj>
              </mc:Choice>
              <mc:Fallback>
                <p:oleObj name="Document" r:id="rId3" imgW="6375400" imgH="8801100" progId="Word.Document.12">
                  <p:embed/>
                  <p:pic>
                    <p:nvPicPr>
                      <p:cNvPr id="3" name="Objet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4247" y="956871"/>
                        <a:ext cx="4110910" cy="56742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9410" y="1375918"/>
            <a:ext cx="1011617" cy="101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468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43000" y="63175"/>
            <a:ext cx="8992800" cy="840822"/>
          </a:xfrm>
        </p:spPr>
        <p:txBody>
          <a:bodyPr/>
          <a:lstStyle/>
          <a:p>
            <a:pPr algn="ctr"/>
            <a:r>
              <a:rPr lang="fr-FR" dirty="0">
                <a:solidFill>
                  <a:srgbClr val="000090"/>
                </a:solidFill>
              </a:rPr>
              <a:t>INTERFACULTY MODULE IN TRANSLATIONAL MEDICINE:</a:t>
            </a:r>
            <a:br>
              <a:rPr lang="fr-FR" dirty="0">
                <a:solidFill>
                  <a:srgbClr val="000090"/>
                </a:solidFill>
              </a:rPr>
            </a:br>
            <a:r>
              <a:rPr lang="fr-FR" dirty="0">
                <a:solidFill>
                  <a:srgbClr val="000090"/>
                </a:solidFill>
              </a:rPr>
              <a:t>DRAFT PROGRAM 2017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/>
          </p:nvPr>
        </p:nvGraphicFramePr>
        <p:xfrm>
          <a:off x="3768817" y="925803"/>
          <a:ext cx="4093218" cy="5649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ocument" r:id="rId3" imgW="6375400" imgH="8801100" progId="Word.Document.12">
                  <p:embed/>
                </p:oleObj>
              </mc:Choice>
              <mc:Fallback>
                <p:oleObj name="Document" r:id="rId3" imgW="6375400" imgH="8801100" progId="Word.Document.12">
                  <p:embed/>
                  <p:pic>
                    <p:nvPicPr>
                      <p:cNvPr id="3" name="Objet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68817" y="925803"/>
                        <a:ext cx="4093218" cy="5649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9410" y="1375918"/>
            <a:ext cx="1011617" cy="101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381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43000" y="63175"/>
            <a:ext cx="8992800" cy="840822"/>
          </a:xfrm>
        </p:spPr>
        <p:txBody>
          <a:bodyPr/>
          <a:lstStyle/>
          <a:p>
            <a:pPr algn="ctr"/>
            <a:r>
              <a:rPr lang="fr-FR" dirty="0">
                <a:solidFill>
                  <a:srgbClr val="000090"/>
                </a:solidFill>
              </a:rPr>
              <a:t>INTERFACULTY MODULE IN TRANSLATIONAL MEDICINE:</a:t>
            </a:r>
            <a:br>
              <a:rPr lang="fr-FR" dirty="0">
                <a:solidFill>
                  <a:srgbClr val="000090"/>
                </a:solidFill>
              </a:rPr>
            </a:br>
            <a:r>
              <a:rPr lang="fr-FR" dirty="0">
                <a:solidFill>
                  <a:srgbClr val="000090"/>
                </a:solidFill>
              </a:rPr>
              <a:t>DRAFT PROGRAM 2017</a:t>
            </a: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>
            <p:extLst/>
          </p:nvPr>
        </p:nvGraphicFramePr>
        <p:xfrm>
          <a:off x="3682725" y="943492"/>
          <a:ext cx="4369185" cy="59014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Document" r:id="rId3" imgW="6375400" imgH="8610600" progId="Word.Document.12">
                  <p:embed/>
                </p:oleObj>
              </mc:Choice>
              <mc:Fallback>
                <p:oleObj name="Document" r:id="rId3" imgW="6375400" imgH="8610600" progId="Word.Document.12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82725" y="943492"/>
                        <a:ext cx="4369185" cy="59014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9410" y="1375918"/>
            <a:ext cx="1011617" cy="101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869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Personnalisée 2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737A9F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</Words>
  <Application>Microsoft Office PowerPoint</Application>
  <PresentationFormat>Breedbeeld</PresentationFormat>
  <Paragraphs>8</Paragraphs>
  <Slides>6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2</vt:i4>
      </vt:variant>
      <vt:variant>
        <vt:lpstr>Diatitel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Kantoorthema</vt:lpstr>
      <vt:lpstr>blank</vt:lpstr>
      <vt:lpstr>think-cell Slide</vt:lpstr>
      <vt:lpstr>Document</vt:lpstr>
      <vt:lpstr>PowerPoint-presentatie</vt:lpstr>
      <vt:lpstr>INTERFACULTY MODULE IN TRANSLATIONAL MEDICINE DRAFT PROGRAM 2017</vt:lpstr>
      <vt:lpstr>INTERFACULTY MODULE IN TRANSLATIONAL MEDICINE: DRAFT PROGRAM 2017</vt:lpstr>
      <vt:lpstr>INTERFACULTY MODULE IN TRANSLATIONAL MEDICINE: DRAFT PROGRAM 2017</vt:lpstr>
      <vt:lpstr>INTERFACULTY MODULE IN TRANSLATIONAL MEDICINE: DRAFT PROGRAM 2017</vt:lpstr>
      <vt:lpstr>INTERFACULTY MODULE IN TRANSLATIONAL MEDICINE: DRAFT PROGRAM 2017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Hilde Stevens</dc:creator>
  <cp:lastModifiedBy>Hilde Stevens</cp:lastModifiedBy>
  <cp:revision>1</cp:revision>
  <dcterms:created xsi:type="dcterms:W3CDTF">2016-07-05T09:40:52Z</dcterms:created>
  <dcterms:modified xsi:type="dcterms:W3CDTF">2016-07-05T09:41:37Z</dcterms:modified>
</cp:coreProperties>
</file>